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28"/>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Elasticity Curve" id="{993980B6-1B51-4BEB-929C-5CAAC5BD5678}">
          <p14:sldIdLst>
            <p14:sldId id="2147476952"/>
            <p14:sldId id="2147476953"/>
            <p14:sldId id="2147476954"/>
            <p14:sldId id="2147476955"/>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65" d="100"/>
          <a:sy n="65" d="100"/>
        </p:scale>
        <p:origin x="22" y="95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notesMaster" Target="notesMasters/notesMaster1.xml"/><Relationship Id="rId29" Type="http://schemas.openxmlformats.org/officeDocument/2006/relationships/presProps" Target="presProps.xml"/><Relationship Id="rId30" Type="http://schemas.openxmlformats.org/officeDocument/2006/relationships/viewProps" Target="viewProps.xml"/><Relationship Id="rId31" Type="http://schemas.openxmlformats.org/officeDocument/2006/relationships/theme" Target="theme/theme1.xml"/><Relationship Id="rId32" Type="http://schemas.openxmlformats.org/officeDocument/2006/relationships/tableStyles" Target="tableStyles.xml"/><Relationship Id="rId33"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SENSITIVE 2 BLADE DISPOSABLE RAZOR 12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49</c:v>
                </c:pt>
                <c:pt idx="1">
                  <c:v>8.49</c:v>
                </c:pt>
                <c:pt idx="2">
                  <c:v>9.49</c:v>
                </c:pt>
                <c:pt idx="3">
                  <c:v>10.29</c:v>
                </c:pt>
                <c:pt idx="4">
                  <c:v>11.99</c:v>
                </c:pt>
              </c:numCache>
            </c:numRef>
          </c:xVal>
          <c:yVal>
            <c:numRef>
              <c:f>Sheet1!$B$2:$B$6</c:f>
              <c:numCache>
                <c:formatCode>General</c:formatCode>
                <c:ptCount val="5"/>
                <c:pt idx="0">
                  <c:v>0.34815049169235684</c:v>
                </c:pt>
                <c:pt idx="1">
                  <c:v>0.12936846244057457</c:v>
                </c:pt>
                <c:pt idx="2">
                  <c:v>0.0</c:v>
                </c:pt>
                <c:pt idx="3">
                  <c:v>-0.05132921212588855</c:v>
                </c:pt>
                <c:pt idx="4">
                  <c:v>-0.1532778934953214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SENSITIVE 3 BLADE DISPOSABLE RAZOR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1.49</c:v>
                </c:pt>
                <c:pt idx="1">
                  <c:v>12.99</c:v>
                </c:pt>
                <c:pt idx="2">
                  <c:v>14.49</c:v>
                </c:pt>
                <c:pt idx="3">
                  <c:v>15.99</c:v>
                </c:pt>
                <c:pt idx="4">
                  <c:v>17.79</c:v>
                </c:pt>
              </c:numCache>
            </c:numRef>
          </c:xVal>
          <c:yVal>
            <c:numRef>
              <c:f>Sheet1!$B$9:$B$13</c:f>
              <c:numCache>
                <c:formatCode>General</c:formatCode>
                <c:ptCount val="5"/>
                <c:pt idx="0">
                  <c:v>0.2120461359827325</c:v>
                </c:pt>
                <c:pt idx="1">
                  <c:v>0.10684158347077231</c:v>
                </c:pt>
                <c:pt idx="2">
                  <c:v>0.0</c:v>
                </c:pt>
                <c:pt idx="3">
                  <c:v>-0.11892548373210506</c:v>
                </c:pt>
                <c:pt idx="4">
                  <c:v>-0.20392308966455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7.79"/>
          <c:min val="7.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RAZOR +2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0.79</c:v>
                </c:pt>
                <c:pt idx="1">
                  <c:v>12.49</c:v>
                </c:pt>
                <c:pt idx="2">
                  <c:v>13.79</c:v>
                </c:pt>
                <c:pt idx="3">
                  <c:v>14.99</c:v>
                </c:pt>
                <c:pt idx="4">
                  <c:v>16.99</c:v>
                </c:pt>
              </c:numCache>
            </c:numRef>
          </c:xVal>
          <c:yVal>
            <c:numRef>
              <c:f>Sheet1!$B$2:$B$6</c:f>
              <c:numCache>
                <c:formatCode>General</c:formatCode>
                <c:ptCount val="5"/>
                <c:pt idx="0">
                  <c:v>0.14774763787496525</c:v>
                </c:pt>
                <c:pt idx="1">
                  <c:v>0.05288006942694861</c:v>
                </c:pt>
                <c:pt idx="2">
                  <c:v>0.0</c:v>
                </c:pt>
                <c:pt idx="3">
                  <c:v>-0.07850527075852014</c:v>
                </c:pt>
                <c:pt idx="4">
                  <c:v>-0.160566620216005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SENSITIVE RAZOR +2 BLAD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79</c:v>
                </c:pt>
                <c:pt idx="1">
                  <c:v>12.49</c:v>
                </c:pt>
                <c:pt idx="2">
                  <c:v>13.79</c:v>
                </c:pt>
                <c:pt idx="3">
                  <c:v>14.99</c:v>
                </c:pt>
                <c:pt idx="4">
                  <c:v>16.99</c:v>
                </c:pt>
              </c:numCache>
            </c:numRef>
          </c:xVal>
          <c:yVal>
            <c:numRef>
              <c:f>Sheet1!$B$9:$B$13</c:f>
              <c:numCache>
                <c:formatCode>General</c:formatCode>
                <c:ptCount val="5"/>
                <c:pt idx="0">
                  <c:v>0.20701007071391245</c:v>
                </c:pt>
                <c:pt idx="1">
                  <c:v>0.0745213445948942</c:v>
                </c:pt>
                <c:pt idx="2">
                  <c:v>0.0</c:v>
                </c:pt>
                <c:pt idx="3">
                  <c:v>-0.08858244670667914</c:v>
                </c:pt>
                <c:pt idx="4">
                  <c:v>-0.169505399979158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SILK TRIMSTYLE RAZOR + 1 BLADE</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5.49</c:v>
                </c:pt>
                <c:pt idx="1">
                  <c:v>17.79</c:v>
                </c:pt>
                <c:pt idx="2">
                  <c:v>19.49</c:v>
                </c:pt>
                <c:pt idx="3">
                  <c:v>21.49</c:v>
                </c:pt>
                <c:pt idx="4">
                  <c:v>24.99</c:v>
                </c:pt>
              </c:numCache>
            </c:numRef>
          </c:xVal>
          <c:yVal>
            <c:numRef>
              <c:f>Sheet1!$B$16:$B$20</c:f>
              <c:numCache>
                <c:formatCode>General</c:formatCode>
                <c:ptCount val="5"/>
                <c:pt idx="0">
                  <c:v>0.1291250273720914</c:v>
                </c:pt>
                <c:pt idx="1">
                  <c:v>0.05795839884115659</c:v>
                </c:pt>
                <c:pt idx="2">
                  <c:v>0.0</c:v>
                </c:pt>
                <c:pt idx="3">
                  <c:v>-0.12018672448869515</c:v>
                </c:pt>
                <c:pt idx="4">
                  <c:v>-0.2489193067268117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SILK ULTIMATE PUBIC SKIN RAZOR + 3 BLADES</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0.29</c:v>
                </c:pt>
                <c:pt idx="1">
                  <c:v>11.99</c:v>
                </c:pt>
                <c:pt idx="2">
                  <c:v>12.99</c:v>
                </c:pt>
                <c:pt idx="3">
                  <c:v>14.49</c:v>
                </c:pt>
                <c:pt idx="4">
                  <c:v>15.99</c:v>
                </c:pt>
              </c:numCache>
            </c:numRef>
          </c:xVal>
          <c:yVal>
            <c:numRef>
              <c:f>Sheet1!$B$23:$B$27</c:f>
              <c:numCache>
                <c:formatCode>General</c:formatCode>
                <c:ptCount val="5"/>
                <c:pt idx="0">
                  <c:v>0.2162161420730538</c:v>
                </c:pt>
                <c:pt idx="1">
                  <c:v>0.05246862738428479</c:v>
                </c:pt>
                <c:pt idx="2">
                  <c:v>0.0</c:v>
                </c:pt>
                <c:pt idx="3">
                  <c:v>-0.08677371579759562</c:v>
                </c:pt>
                <c:pt idx="4">
                  <c:v>-0.160678827959848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9"/>
          <c:min val="10.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ADVANCED MOISTURE RAZOR + 2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49</c:v>
                </c:pt>
                <c:pt idx="1">
                  <c:v>13.89</c:v>
                </c:pt>
                <c:pt idx="2">
                  <c:v>15.49</c:v>
                </c:pt>
                <c:pt idx="3">
                  <c:v>16.99</c:v>
                </c:pt>
                <c:pt idx="4">
                  <c:v>19.49</c:v>
                </c:pt>
              </c:numCache>
            </c:numRef>
          </c:xVal>
          <c:yVal>
            <c:numRef>
              <c:f>Sheet1!$B$2:$B$6</c:f>
              <c:numCache>
                <c:formatCode>General</c:formatCode>
                <c:ptCount val="5"/>
                <c:pt idx="0">
                  <c:v>0.21926089556229975</c:v>
                </c:pt>
                <c:pt idx="1">
                  <c:v>0.099497932521564</c:v>
                </c:pt>
                <c:pt idx="2">
                  <c:v>0.0</c:v>
                </c:pt>
                <c:pt idx="3">
                  <c:v>-0.03710092448445192</c:v>
                </c:pt>
                <c:pt idx="4">
                  <c:v>-0.1305547871220272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INTUITION FRESH GARDENIA RAZOR + 2 BLAD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49</c:v>
                </c:pt>
                <c:pt idx="1">
                  <c:v>13.89</c:v>
                </c:pt>
                <c:pt idx="2">
                  <c:v>15.49</c:v>
                </c:pt>
                <c:pt idx="3">
                  <c:v>16.99</c:v>
                </c:pt>
                <c:pt idx="4">
                  <c:v>19.49</c:v>
                </c:pt>
              </c:numCache>
            </c:numRef>
          </c:xVal>
          <c:yVal>
            <c:numRef>
              <c:f>Sheet1!$B$9:$B$13</c:f>
              <c:numCache>
                <c:formatCode>General</c:formatCode>
                <c:ptCount val="5"/>
                <c:pt idx="0">
                  <c:v>0.15788111934577542</c:v>
                </c:pt>
                <c:pt idx="1">
                  <c:v>0.0718791025122414</c:v>
                </c:pt>
                <c:pt idx="2">
                  <c:v>0.0</c:v>
                </c:pt>
                <c:pt idx="3">
                  <c:v>-0.029157913555303006</c:v>
                </c:pt>
                <c:pt idx="4">
                  <c:v>-0.0993953801275461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INTUITION LEMON BERRY BREEZE RAZOR +2 BLADES</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2.49</c:v>
                </c:pt>
                <c:pt idx="1">
                  <c:v>13.89</c:v>
                </c:pt>
                <c:pt idx="2">
                  <c:v>15.49</c:v>
                </c:pt>
                <c:pt idx="3">
                  <c:v>16.99</c:v>
                </c:pt>
                <c:pt idx="4">
                  <c:v>19.49</c:v>
                </c:pt>
              </c:numCache>
            </c:numRef>
          </c:xVal>
          <c:yVal>
            <c:numRef>
              <c:f>Sheet1!$B$16:$B$20</c:f>
              <c:numCache>
                <c:formatCode>General</c:formatCode>
                <c:ptCount val="5"/>
                <c:pt idx="0">
                  <c:v>0.1962237232846819</c:v>
                </c:pt>
                <c:pt idx="1">
                  <c:v>0.07642350161626127</c:v>
                </c:pt>
                <c:pt idx="2">
                  <c:v>0.0</c:v>
                </c:pt>
                <c:pt idx="3">
                  <c:v>-0.03806209052899113</c:v>
                </c:pt>
                <c:pt idx="4">
                  <c:v>-0.1364055810622514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INTUITION PURE NOURISHMENT RAZOR +2 BLADES</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49</c:v>
                </c:pt>
                <c:pt idx="1">
                  <c:v>13.89</c:v>
                </c:pt>
                <c:pt idx="2">
                  <c:v>15.49</c:v>
                </c:pt>
                <c:pt idx="3">
                  <c:v>16.99</c:v>
                </c:pt>
                <c:pt idx="4">
                  <c:v>19.49</c:v>
                </c:pt>
              </c:numCache>
            </c:numRef>
          </c:xVal>
          <c:yVal>
            <c:numRef>
              <c:f>Sheet1!$B$23:$B$27</c:f>
              <c:numCache>
                <c:formatCode>General</c:formatCode>
                <c:ptCount val="5"/>
                <c:pt idx="0">
                  <c:v>0.37601747389235113</c:v>
                </c:pt>
                <c:pt idx="1">
                  <c:v>0.18797114506967913</c:v>
                </c:pt>
                <c:pt idx="2">
                  <c:v>0.0</c:v>
                </c:pt>
                <c:pt idx="3">
                  <c:v>-0.053978140295753305</c:v>
                </c:pt>
                <c:pt idx="4">
                  <c:v>-0.17179906723601424</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INTUITION SENSITIVE RAZOR +2 BLADES</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49</c:v>
                </c:pt>
                <c:pt idx="1">
                  <c:v>13.89</c:v>
                </c:pt>
                <c:pt idx="2">
                  <c:v>15.49</c:v>
                </c:pt>
                <c:pt idx="3">
                  <c:v>16.99</c:v>
                </c:pt>
                <c:pt idx="4">
                  <c:v>19.49</c:v>
                </c:pt>
              </c:numCache>
            </c:numRef>
          </c:xVal>
          <c:yVal>
            <c:numRef>
              <c:f>Sheet1!$B$30:$B$34</c:f>
              <c:numCache>
                <c:formatCode>General</c:formatCode>
                <c:ptCount val="5"/>
                <c:pt idx="0">
                  <c:v>0.12581553237451482</c:v>
                </c:pt>
                <c:pt idx="1">
                  <c:v>0.07463689038573583</c:v>
                </c:pt>
                <c:pt idx="2">
                  <c:v>0.0</c:v>
                </c:pt>
                <c:pt idx="3">
                  <c:v>-0.0267656553412339</c:v>
                </c:pt>
                <c:pt idx="4">
                  <c:v>-0.0711668787314026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9.49"/>
          <c:min val="12.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RADIANCE RAZOR + 2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49</c:v>
                </c:pt>
                <c:pt idx="1">
                  <c:v>13.89</c:v>
                </c:pt>
                <c:pt idx="2">
                  <c:v>15.49</c:v>
                </c:pt>
                <c:pt idx="3">
                  <c:v>16.99</c:v>
                </c:pt>
                <c:pt idx="4">
                  <c:v>19.49</c:v>
                </c:pt>
              </c:numCache>
            </c:numRef>
          </c:xVal>
          <c:yVal>
            <c:numRef>
              <c:f>Sheet1!$B$2:$B$6</c:f>
              <c:numCache>
                <c:formatCode>General</c:formatCode>
                <c:ptCount val="5"/>
                <c:pt idx="0">
                  <c:v>0.22816620045068817</c:v>
                </c:pt>
                <c:pt idx="1">
                  <c:v>0.10628255556015714</c:v>
                </c:pt>
                <c:pt idx="2">
                  <c:v>0.0</c:v>
                </c:pt>
                <c:pt idx="3">
                  <c:v>-0.04667696380877789</c:v>
                </c:pt>
                <c:pt idx="4">
                  <c:v>-0.165991044934756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9.49"/>
          <c:min val="12.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QUATTRO FOR WOMEN RAZOR +4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19</c:v>
                </c:pt>
                <c:pt idx="1">
                  <c:v>12.49</c:v>
                </c:pt>
                <c:pt idx="2">
                  <c:v>13.99</c:v>
                </c:pt>
                <c:pt idx="3">
                  <c:v>15.49</c:v>
                </c:pt>
                <c:pt idx="4">
                  <c:v>17.79</c:v>
                </c:pt>
              </c:numCache>
            </c:numRef>
          </c:xVal>
          <c:yVal>
            <c:numRef>
              <c:f>Sheet1!$B$2:$B$6</c:f>
              <c:numCache>
                <c:formatCode>General</c:formatCode>
                <c:ptCount val="5"/>
                <c:pt idx="0">
                  <c:v>0.2445276671769236</c:v>
                </c:pt>
                <c:pt idx="1">
                  <c:v>0.11793570509705552</c:v>
                </c:pt>
                <c:pt idx="2">
                  <c:v>0.0</c:v>
                </c:pt>
                <c:pt idx="3">
                  <c:v>-0.15464907762111335</c:v>
                </c:pt>
                <c:pt idx="4">
                  <c:v>-0.2646773057679802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7.79"/>
          <c:min val="11.1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ILLIE DISPOSABLE 3 BLADE MALIBU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29</c:v>
                </c:pt>
                <c:pt idx="1">
                  <c:v>6.69</c:v>
                </c:pt>
                <c:pt idx="2">
                  <c:v>7.49</c:v>
                </c:pt>
                <c:pt idx="3">
                  <c:v>7.89</c:v>
                </c:pt>
                <c:pt idx="4">
                  <c:v>9.29</c:v>
                </c:pt>
              </c:numCache>
            </c:numRef>
          </c:xVal>
          <c:yVal>
            <c:numRef>
              <c:f>Sheet1!$B$2:$B$6</c:f>
              <c:numCache>
                <c:formatCode>General</c:formatCode>
                <c:ptCount val="5"/>
                <c:pt idx="0">
                  <c:v>0.3373788242914236</c:v>
                </c:pt>
                <c:pt idx="1">
                  <c:v>0.23068304441493967</c:v>
                </c:pt>
                <c:pt idx="2">
                  <c:v>0.0</c:v>
                </c:pt>
                <c:pt idx="3">
                  <c:v>-0.09994951579116476</c:v>
                </c:pt>
                <c:pt idx="4">
                  <c:v>-0.29015605480273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ILLIE DISPOSABLE 3 BLADE MALIBU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79</c:v>
                </c:pt>
                <c:pt idx="1">
                  <c:v>11.99</c:v>
                </c:pt>
                <c:pt idx="2">
                  <c:v>13.49</c:v>
                </c:pt>
                <c:pt idx="3">
                  <c:v>14.99</c:v>
                </c:pt>
                <c:pt idx="4">
                  <c:v>17.79</c:v>
                </c:pt>
              </c:numCache>
            </c:numRef>
          </c:xVal>
          <c:yVal>
            <c:numRef>
              <c:f>Sheet1!$B$9:$B$13</c:f>
              <c:numCache>
                <c:formatCode>General</c:formatCode>
                <c:ptCount val="5"/>
                <c:pt idx="0">
                  <c:v>0.2548625464145424</c:v>
                </c:pt>
                <c:pt idx="1">
                  <c:v>0.09877225208561206</c:v>
                </c:pt>
                <c:pt idx="2">
                  <c:v>0.0</c:v>
                </c:pt>
                <c:pt idx="3">
                  <c:v>-0.13772310797518716</c:v>
                </c:pt>
                <c:pt idx="4">
                  <c:v>-0.302939524234153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ILLIE DISPOSABLE 3 BLADE SUNBURST 3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29</c:v>
                </c:pt>
                <c:pt idx="1">
                  <c:v>6.69</c:v>
                </c:pt>
                <c:pt idx="2">
                  <c:v>7.49</c:v>
                </c:pt>
                <c:pt idx="3">
                  <c:v>7.89</c:v>
                </c:pt>
                <c:pt idx="4">
                  <c:v>9.29</c:v>
                </c:pt>
              </c:numCache>
            </c:numRef>
          </c:xVal>
          <c:yVal>
            <c:numRef>
              <c:f>Sheet1!$B$16:$B$20</c:f>
              <c:numCache>
                <c:formatCode>General</c:formatCode>
                <c:ptCount val="5"/>
                <c:pt idx="0">
                  <c:v>0.29056223975559103</c:v>
                </c:pt>
                <c:pt idx="1">
                  <c:v>0.20296917600680492</c:v>
                </c:pt>
                <c:pt idx="2">
                  <c:v>0.0</c:v>
                </c:pt>
                <c:pt idx="3">
                  <c:v>-0.09310164624681395</c:v>
                </c:pt>
                <c:pt idx="4">
                  <c:v>-0.26186107722709895</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ILLIE DISPOSABLE 5 BLADE SUNBURST 2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99</c:v>
                </c:pt>
                <c:pt idx="1">
                  <c:v>7.89</c:v>
                </c:pt>
                <c:pt idx="2">
                  <c:v>8.69</c:v>
                </c:pt>
                <c:pt idx="3">
                  <c:v>9.79</c:v>
                </c:pt>
                <c:pt idx="4">
                  <c:v>10.79</c:v>
                </c:pt>
              </c:numCache>
            </c:numRef>
          </c:xVal>
          <c:yVal>
            <c:numRef>
              <c:f>Sheet1!$B$23:$B$27</c:f>
              <c:numCache>
                <c:formatCode>General</c:formatCode>
                <c:ptCount val="5"/>
                <c:pt idx="0">
                  <c:v>0.37600990064496503</c:v>
                </c:pt>
                <c:pt idx="1">
                  <c:v>0.09570916109026079</c:v>
                </c:pt>
                <c:pt idx="2">
                  <c:v>0.0</c:v>
                </c:pt>
                <c:pt idx="3">
                  <c:v>-0.12244410282612839</c:v>
                </c:pt>
                <c:pt idx="4">
                  <c:v>-0.2732064749799975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7.79"/>
          <c:min val="6.2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ILLIE MALIBU RAZOR + 5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6.99</c:v>
                </c:pt>
                <c:pt idx="1">
                  <c:v>18.79</c:v>
                </c:pt>
                <c:pt idx="2">
                  <c:v>20.99</c:v>
                </c:pt>
                <c:pt idx="3">
                  <c:v>22.99</c:v>
                </c:pt>
                <c:pt idx="4">
                  <c:v>26.99</c:v>
                </c:pt>
              </c:numCache>
            </c:numRef>
          </c:xVal>
          <c:yVal>
            <c:numRef>
              <c:f>Sheet1!$B$2:$B$6</c:f>
              <c:numCache>
                <c:formatCode>General</c:formatCode>
                <c:ptCount val="5"/>
                <c:pt idx="0">
                  <c:v>0.18911773874353927</c:v>
                </c:pt>
                <c:pt idx="1">
                  <c:v>0.11296917631547822</c:v>
                </c:pt>
                <c:pt idx="2">
                  <c:v>0.0</c:v>
                </c:pt>
                <c:pt idx="3">
                  <c:v>-0.10264956994551443</c:v>
                </c:pt>
                <c:pt idx="4">
                  <c:v>-0.2071264680122701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99"/>
          <c:min val="16.9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ILLIE DREAM POP RAZOR +2 BLAD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69</c:v>
                </c:pt>
                <c:pt idx="1">
                  <c:v>11.19</c:v>
                </c:pt>
                <c:pt idx="2">
                  <c:v>12.49</c:v>
                </c:pt>
                <c:pt idx="3">
                  <c:v>13.49</c:v>
                </c:pt>
                <c:pt idx="4">
                  <c:v>15.49</c:v>
                </c:pt>
              </c:numCache>
            </c:numRef>
          </c:xVal>
          <c:yVal>
            <c:numRef>
              <c:f>Sheet1!$B$2:$B$6</c:f>
              <c:numCache>
                <c:formatCode>General</c:formatCode>
                <c:ptCount val="5"/>
                <c:pt idx="0">
                  <c:v>0.5136902717454086</c:v>
                </c:pt>
                <c:pt idx="1">
                  <c:v>0.06917941311259353</c:v>
                </c:pt>
                <c:pt idx="2">
                  <c:v>0.0</c:v>
                </c:pt>
                <c:pt idx="3">
                  <c:v>-0.12138042806808888</c:v>
                </c:pt>
                <c:pt idx="4">
                  <c:v>-0.316206451456317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ILLIE MALIBU RAZOR +2 BLAD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69</c:v>
                </c:pt>
                <c:pt idx="1">
                  <c:v>11.19</c:v>
                </c:pt>
                <c:pt idx="2">
                  <c:v>12.49</c:v>
                </c:pt>
                <c:pt idx="3">
                  <c:v>13.49</c:v>
                </c:pt>
                <c:pt idx="4">
                  <c:v>15.49</c:v>
                </c:pt>
              </c:numCache>
            </c:numRef>
          </c:xVal>
          <c:yVal>
            <c:numRef>
              <c:f>Sheet1!$B$9:$B$13</c:f>
              <c:numCache>
                <c:formatCode>General</c:formatCode>
                <c:ptCount val="5"/>
                <c:pt idx="0">
                  <c:v>0.540154449120987</c:v>
                </c:pt>
                <c:pt idx="1">
                  <c:v>0.06868562435627441</c:v>
                </c:pt>
                <c:pt idx="2">
                  <c:v>0.0</c:v>
                </c:pt>
                <c:pt idx="3">
                  <c:v>-0.11253808696096403</c:v>
                </c:pt>
                <c:pt idx="4">
                  <c:v>-0.282944150646469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49"/>
          <c:min val="8.6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ULTIMATE PUBIC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79</c:v>
                </c:pt>
                <c:pt idx="1">
                  <c:v>10.79</c:v>
                </c:pt>
                <c:pt idx="2">
                  <c:v>11.99</c:v>
                </c:pt>
                <c:pt idx="3">
                  <c:v>12.99</c:v>
                </c:pt>
                <c:pt idx="4">
                  <c:v>14.99</c:v>
                </c:pt>
              </c:numCache>
            </c:numRef>
          </c:xVal>
          <c:yVal>
            <c:numRef>
              <c:f>Sheet1!$B$2:$B$6</c:f>
              <c:numCache>
                <c:formatCode>General</c:formatCode>
                <c:ptCount val="5"/>
                <c:pt idx="0">
                  <c:v>0.07364998555124905</c:v>
                </c:pt>
                <c:pt idx="1">
                  <c:v>0.037388433228591304</c:v>
                </c:pt>
                <c:pt idx="2">
                  <c:v>0.0</c:v>
                </c:pt>
                <c:pt idx="3">
                  <c:v>-0.05394186659750694</c:v>
                </c:pt>
                <c:pt idx="4">
                  <c:v>-0.1113695191404815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MOISTURE BLADE REFILL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3.99</c:v>
                </c:pt>
                <c:pt idx="1">
                  <c:v>17.19</c:v>
                </c:pt>
                <c:pt idx="2">
                  <c:v>21.49</c:v>
                </c:pt>
                <c:pt idx="3">
                  <c:v>23.99</c:v>
                </c:pt>
                <c:pt idx="4">
                  <c:v>26.99</c:v>
                </c:pt>
              </c:numCache>
            </c:numRef>
          </c:xVal>
          <c:yVal>
            <c:numRef>
              <c:f>Sheet1!$B$9:$B$13</c:f>
              <c:numCache>
                <c:formatCode>General</c:formatCode>
                <c:ptCount val="5"/>
                <c:pt idx="0">
                  <c:v>0.42774965279499877</c:v>
                </c:pt>
                <c:pt idx="1">
                  <c:v>0.2649882220902526</c:v>
                </c:pt>
                <c:pt idx="2">
                  <c:v>0.0</c:v>
                </c:pt>
                <c:pt idx="3">
                  <c:v>-0.08029309895755664</c:v>
                </c:pt>
                <c:pt idx="4">
                  <c:v>-0.161477888935531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SILK SENSITIVE BLADE REFILLS 4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3.99</c:v>
                </c:pt>
                <c:pt idx="1">
                  <c:v>17.19</c:v>
                </c:pt>
                <c:pt idx="2">
                  <c:v>21.49</c:v>
                </c:pt>
                <c:pt idx="3">
                  <c:v>23.99</c:v>
                </c:pt>
                <c:pt idx="4">
                  <c:v>26.99</c:v>
                </c:pt>
              </c:numCache>
            </c:numRef>
          </c:xVal>
          <c:yVal>
            <c:numRef>
              <c:f>Sheet1!$B$16:$B$20</c:f>
              <c:numCache>
                <c:formatCode>General</c:formatCode>
                <c:ptCount val="5"/>
                <c:pt idx="0">
                  <c:v>0.42525899968815967</c:v>
                </c:pt>
                <c:pt idx="1">
                  <c:v>0.2873300534301244</c:v>
                </c:pt>
                <c:pt idx="2">
                  <c:v>0.0</c:v>
                </c:pt>
                <c:pt idx="3">
                  <c:v>-0.09233264429562117</c:v>
                </c:pt>
                <c:pt idx="4">
                  <c:v>-0.1738311648821942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99"/>
          <c:min val="9.7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MOISTURE BLAD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99</c:v>
                </c:pt>
                <c:pt idx="1">
                  <c:v>23.19</c:v>
                </c:pt>
                <c:pt idx="2">
                  <c:v>28.99</c:v>
                </c:pt>
                <c:pt idx="3">
                  <c:v>31.89</c:v>
                </c:pt>
                <c:pt idx="4">
                  <c:v>36.19</c:v>
                </c:pt>
              </c:numCache>
            </c:numRef>
          </c:xVal>
          <c:yVal>
            <c:numRef>
              <c:f>Sheet1!$B$2:$B$6</c:f>
              <c:numCache>
                <c:formatCode>General</c:formatCode>
                <c:ptCount val="5"/>
                <c:pt idx="0">
                  <c:v>0.5385486710657406</c:v>
                </c:pt>
                <c:pt idx="1">
                  <c:v>0.4015412871658971</c:v>
                </c:pt>
                <c:pt idx="2">
                  <c:v>0.0</c:v>
                </c:pt>
                <c:pt idx="3">
                  <c:v>-0.14624867956254659</c:v>
                </c:pt>
                <c:pt idx="4">
                  <c:v>-0.2182219961894858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SENSITIVE BLADE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99</c:v>
                </c:pt>
                <c:pt idx="1">
                  <c:v>23.19</c:v>
                </c:pt>
                <c:pt idx="2">
                  <c:v>28.99</c:v>
                </c:pt>
                <c:pt idx="3">
                  <c:v>31.89</c:v>
                </c:pt>
                <c:pt idx="4">
                  <c:v>36.19</c:v>
                </c:pt>
              </c:numCache>
            </c:numRef>
          </c:xVal>
          <c:yVal>
            <c:numRef>
              <c:f>Sheet1!$B$9:$B$13</c:f>
              <c:numCache>
                <c:formatCode>General</c:formatCode>
                <c:ptCount val="5"/>
                <c:pt idx="0">
                  <c:v>0.7107413221686381</c:v>
                </c:pt>
                <c:pt idx="1">
                  <c:v>0.53387273110473</c:v>
                </c:pt>
                <c:pt idx="2">
                  <c:v>0.0</c:v>
                </c:pt>
                <c:pt idx="3">
                  <c:v>-0.18020433756269472</c:v>
                </c:pt>
                <c:pt idx="4">
                  <c:v>-0.256108187711981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19"/>
          <c:min val="19.9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ADVANCED MOISTURE BLADE REFILLS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6.49</c:v>
                </c:pt>
                <c:pt idx="1">
                  <c:v>18.79</c:v>
                </c:pt>
                <c:pt idx="2">
                  <c:v>20.49</c:v>
                </c:pt>
                <c:pt idx="3">
                  <c:v>22.99</c:v>
                </c:pt>
                <c:pt idx="4">
                  <c:v>25.59</c:v>
                </c:pt>
              </c:numCache>
            </c:numRef>
          </c:xVal>
          <c:yVal>
            <c:numRef>
              <c:f>Sheet1!$B$2:$B$6</c:f>
              <c:numCache>
                <c:formatCode>General</c:formatCode>
                <c:ptCount val="5"/>
                <c:pt idx="0">
                  <c:v>0.14258150270214645</c:v>
                </c:pt>
                <c:pt idx="1">
                  <c:v>0.07141690339069298</c:v>
                </c:pt>
                <c:pt idx="2">
                  <c:v>0.0</c:v>
                </c:pt>
                <c:pt idx="3">
                  <c:v>-0.058480247047610665</c:v>
                </c:pt>
                <c:pt idx="4">
                  <c:v>-0.136240766777535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INTUITION FRESH GARDENIA BLADE REFILLS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49</c:v>
                </c:pt>
                <c:pt idx="1">
                  <c:v>18.79</c:v>
                </c:pt>
                <c:pt idx="2">
                  <c:v>20.49</c:v>
                </c:pt>
                <c:pt idx="3">
                  <c:v>22.99</c:v>
                </c:pt>
                <c:pt idx="4">
                  <c:v>25.59</c:v>
                </c:pt>
              </c:numCache>
            </c:numRef>
          </c:xVal>
          <c:yVal>
            <c:numRef>
              <c:f>Sheet1!$B$9:$B$13</c:f>
              <c:numCache>
                <c:formatCode>General</c:formatCode>
                <c:ptCount val="5"/>
                <c:pt idx="0">
                  <c:v>0.21605373165082326</c:v>
                </c:pt>
                <c:pt idx="1">
                  <c:v>0.10742510371358671</c:v>
                </c:pt>
                <c:pt idx="2">
                  <c:v>0.0</c:v>
                </c:pt>
                <c:pt idx="3">
                  <c:v>-0.07124497040902601</c:v>
                </c:pt>
                <c:pt idx="4">
                  <c:v>-0.154342768860668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INTUITION LEMON BERRY BREEZE BLADE REFILL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99</c:v>
                </c:pt>
                <c:pt idx="1">
                  <c:v>26.99</c:v>
                </c:pt>
                <c:pt idx="2">
                  <c:v>29.99</c:v>
                </c:pt>
                <c:pt idx="3">
                  <c:v>32.99</c:v>
                </c:pt>
                <c:pt idx="4">
                  <c:v>36.19</c:v>
                </c:pt>
              </c:numCache>
            </c:numRef>
          </c:xVal>
          <c:yVal>
            <c:numRef>
              <c:f>Sheet1!$B$16:$B$20</c:f>
              <c:numCache>
                <c:formatCode>General</c:formatCode>
                <c:ptCount val="5"/>
                <c:pt idx="0">
                  <c:v>0.40441818581926914</c:v>
                </c:pt>
                <c:pt idx="1">
                  <c:v>0.31101729014252105</c:v>
                </c:pt>
                <c:pt idx="2">
                  <c:v>0.0</c:v>
                </c:pt>
                <c:pt idx="3">
                  <c:v>-0.1011333484717122</c:v>
                </c:pt>
                <c:pt idx="4">
                  <c:v>-0.1626382147812641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INTUITION PURE NOURISHMENT BLADE REFILLS 3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6.49</c:v>
                </c:pt>
                <c:pt idx="1">
                  <c:v>18.79</c:v>
                </c:pt>
                <c:pt idx="2">
                  <c:v>20.49</c:v>
                </c:pt>
                <c:pt idx="3">
                  <c:v>22.99</c:v>
                </c:pt>
                <c:pt idx="4">
                  <c:v>25.59</c:v>
                </c:pt>
              </c:numCache>
            </c:numRef>
          </c:xVal>
          <c:yVal>
            <c:numRef>
              <c:f>Sheet1!$B$23:$B$27</c:f>
              <c:numCache>
                <c:formatCode>General</c:formatCode>
                <c:ptCount val="5"/>
                <c:pt idx="0">
                  <c:v>0.3679059949297433</c:v>
                </c:pt>
                <c:pt idx="1">
                  <c:v>0.1824541642484771</c:v>
                </c:pt>
                <c:pt idx="2">
                  <c:v>0.0</c:v>
                </c:pt>
                <c:pt idx="3">
                  <c:v>-0.0648265673302434</c:v>
                </c:pt>
                <c:pt idx="4">
                  <c:v>-0.17421218832221833</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INTUITION SENSITIVE BLADE REFILLS 6 PACK</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3.99</c:v>
                </c:pt>
                <c:pt idx="1">
                  <c:v>26.99</c:v>
                </c:pt>
                <c:pt idx="2">
                  <c:v>29.99</c:v>
                </c:pt>
                <c:pt idx="3">
                  <c:v>32.99</c:v>
                </c:pt>
                <c:pt idx="4">
                  <c:v>36.19</c:v>
                </c:pt>
              </c:numCache>
            </c:numRef>
          </c:xVal>
          <c:yVal>
            <c:numRef>
              <c:f>Sheet1!$B$30:$B$34</c:f>
              <c:numCache>
                <c:formatCode>General</c:formatCode>
                <c:ptCount val="5"/>
                <c:pt idx="0">
                  <c:v>0.7532393402236225</c:v>
                </c:pt>
                <c:pt idx="1">
                  <c:v>0.6203131042208322</c:v>
                </c:pt>
                <c:pt idx="2">
                  <c:v>0.0</c:v>
                </c:pt>
                <c:pt idx="3">
                  <c:v>-0.12769838890914778</c:v>
                </c:pt>
                <c:pt idx="4">
                  <c:v>-0.1901951141161653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19"/>
          <c:min val="16.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EXTRA 2 ESSENTIALS DISPOSABLE RAZOR 10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79</c:v>
                </c:pt>
                <c:pt idx="1">
                  <c:v>10.79</c:v>
                </c:pt>
                <c:pt idx="2">
                  <c:v>11.99</c:v>
                </c:pt>
                <c:pt idx="3">
                  <c:v>12.99</c:v>
                </c:pt>
                <c:pt idx="4">
                  <c:v>14.99</c:v>
                </c:pt>
              </c:numCache>
            </c:numRef>
          </c:xVal>
          <c:yVal>
            <c:numRef>
              <c:f>Sheet1!$B$2:$B$6</c:f>
              <c:numCache>
                <c:formatCode>General</c:formatCode>
                <c:ptCount val="5"/>
                <c:pt idx="0">
                  <c:v>0.18339295531878214</c:v>
                </c:pt>
                <c:pt idx="1">
                  <c:v>0.08906471944446329</c:v>
                </c:pt>
                <c:pt idx="2">
                  <c:v>0.0</c:v>
                </c:pt>
                <c:pt idx="3">
                  <c:v>-0.04527655540700374</c:v>
                </c:pt>
                <c:pt idx="4">
                  <c:v>-0.14501310486130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9"/>
          <c:min val="9.7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ADVANCED MOISTURE BLAD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8.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3.99</c:v>
                </c:pt>
                <c:pt idx="1">
                  <c:v>26.99</c:v>
                </c:pt>
                <c:pt idx="2">
                  <c:v>29.99</c:v>
                </c:pt>
                <c:pt idx="3">
                  <c:v>32.99</c:v>
                </c:pt>
                <c:pt idx="4">
                  <c:v>36.19</c:v>
                </c:pt>
              </c:numCache>
            </c:numRef>
          </c:xVal>
          <c:yVal>
            <c:numRef>
              <c:f>Sheet1!$B$2:$B$6</c:f>
              <c:numCache>
                <c:formatCode>General</c:formatCode>
                <c:ptCount val="5"/>
                <c:pt idx="0">
                  <c:v>1.081569578394686</c:v>
                </c:pt>
                <c:pt idx="1">
                  <c:v>0.8548922800357204</c:v>
                </c:pt>
                <c:pt idx="2">
                  <c:v>0.0</c:v>
                </c:pt>
                <c:pt idx="3">
                  <c:v>-0.15363560817363206</c:v>
                </c:pt>
                <c:pt idx="4">
                  <c:v>-0.237249143592676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INTUITION RADIANCE BLADE REFILLS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49</c:v>
                </c:pt>
                <c:pt idx="1">
                  <c:v>18.79</c:v>
                </c:pt>
                <c:pt idx="2">
                  <c:v>20.49</c:v>
                </c:pt>
                <c:pt idx="3">
                  <c:v>22.99</c:v>
                </c:pt>
                <c:pt idx="4">
                  <c:v>25.59</c:v>
                </c:pt>
              </c:numCache>
            </c:numRef>
          </c:xVal>
          <c:yVal>
            <c:numRef>
              <c:f>Sheet1!$B$9:$B$13</c:f>
              <c:numCache>
                <c:formatCode>General</c:formatCode>
                <c:ptCount val="5"/>
                <c:pt idx="0">
                  <c:v>0.37641663735238684</c:v>
                </c:pt>
                <c:pt idx="1">
                  <c:v>0.17638426681920027</c:v>
                </c:pt>
                <c:pt idx="2">
                  <c:v>0.0</c:v>
                </c:pt>
                <c:pt idx="3">
                  <c:v>-0.0620922294322728</c:v>
                </c:pt>
                <c:pt idx="4">
                  <c:v>-0.1615187428202765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INTUITION RADIANCE BLADE REFILL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99</c:v>
                </c:pt>
                <c:pt idx="1">
                  <c:v>26.99</c:v>
                </c:pt>
                <c:pt idx="2">
                  <c:v>29.99</c:v>
                </c:pt>
                <c:pt idx="3">
                  <c:v>32.99</c:v>
                </c:pt>
                <c:pt idx="4">
                  <c:v>36.19</c:v>
                </c:pt>
              </c:numCache>
            </c:numRef>
          </c:xVal>
          <c:yVal>
            <c:numRef>
              <c:f>Sheet1!$B$16:$B$20</c:f>
              <c:numCache>
                <c:formatCode>General</c:formatCode>
                <c:ptCount val="5"/>
                <c:pt idx="0">
                  <c:v>0.8611945643710972</c:v>
                </c:pt>
                <c:pt idx="1">
                  <c:v>0.6720508237064798</c:v>
                </c:pt>
                <c:pt idx="2">
                  <c:v>0.0</c:v>
                </c:pt>
                <c:pt idx="3">
                  <c:v>-0.1461251489780643</c:v>
                </c:pt>
                <c:pt idx="4">
                  <c:v>-0.226373134949573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INTUITION SENSITIVE BLADE REFILLS 3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6.49</c:v>
                </c:pt>
                <c:pt idx="1">
                  <c:v>18.79</c:v>
                </c:pt>
                <c:pt idx="2">
                  <c:v>20.49</c:v>
                </c:pt>
                <c:pt idx="3">
                  <c:v>22.99</c:v>
                </c:pt>
                <c:pt idx="4">
                  <c:v>25.59</c:v>
                </c:pt>
              </c:numCache>
            </c:numRef>
          </c:xVal>
          <c:yVal>
            <c:numRef>
              <c:f>Sheet1!$B$23:$B$27</c:f>
              <c:numCache>
                <c:formatCode>General</c:formatCode>
                <c:ptCount val="5"/>
                <c:pt idx="0">
                  <c:v>0.5367612899494528</c:v>
                </c:pt>
                <c:pt idx="1">
                  <c:v>0.27954662483021886</c:v>
                </c:pt>
                <c:pt idx="2">
                  <c:v>0.0</c:v>
                </c:pt>
                <c:pt idx="3">
                  <c:v>-0.05765437912315163</c:v>
                </c:pt>
                <c:pt idx="4">
                  <c:v>-0.1784097253495794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19"/>
          <c:min val="16.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QUATTRO FOR WOMEN BLAD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69</c:v>
                </c:pt>
                <c:pt idx="1">
                  <c:v>10.29</c:v>
                </c:pt>
                <c:pt idx="2">
                  <c:v>11.19</c:v>
                </c:pt>
                <c:pt idx="3">
                  <c:v>12.49</c:v>
                </c:pt>
                <c:pt idx="4">
                  <c:v>13.99</c:v>
                </c:pt>
              </c:numCache>
            </c:numRef>
          </c:xVal>
          <c:yVal>
            <c:numRef>
              <c:f>Sheet1!$B$2:$B$6</c:f>
              <c:numCache>
                <c:formatCode>General</c:formatCode>
                <c:ptCount val="5"/>
                <c:pt idx="0">
                  <c:v>0.5560326284794423</c:v>
                </c:pt>
                <c:pt idx="1">
                  <c:v>0.07683088006232884</c:v>
                </c:pt>
                <c:pt idx="2">
                  <c:v>0.0</c:v>
                </c:pt>
                <c:pt idx="3">
                  <c:v>-0.11460504842776773</c:v>
                </c:pt>
                <c:pt idx="4">
                  <c:v>-0.2349393634680939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QUATTRO FOR WOMEN BLADE REFILL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1.99</c:v>
                </c:pt>
                <c:pt idx="1">
                  <c:v>13.49</c:v>
                </c:pt>
                <c:pt idx="2">
                  <c:v>14.99</c:v>
                </c:pt>
                <c:pt idx="3">
                  <c:v>16.49</c:v>
                </c:pt>
                <c:pt idx="4">
                  <c:v>18.79</c:v>
                </c:pt>
              </c:numCache>
            </c:numRef>
          </c:xVal>
          <c:yVal>
            <c:numRef>
              <c:f>Sheet1!$B$9:$B$13</c:f>
              <c:numCache>
                <c:formatCode>General</c:formatCode>
                <c:ptCount val="5"/>
                <c:pt idx="0">
                  <c:v>0.09530044340286338</c:v>
                </c:pt>
                <c:pt idx="1">
                  <c:v>0.025314230541907685</c:v>
                </c:pt>
                <c:pt idx="2">
                  <c:v>0.0</c:v>
                </c:pt>
                <c:pt idx="3">
                  <c:v>-0.02341722527798658</c:v>
                </c:pt>
                <c:pt idx="4">
                  <c:v>-0.0824633983008132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79"/>
          <c:min val="8.6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ILLIE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79</c:v>
                </c:pt>
                <c:pt idx="1">
                  <c:v>11.19</c:v>
                </c:pt>
                <c:pt idx="2">
                  <c:v>12.49</c:v>
                </c:pt>
                <c:pt idx="3">
                  <c:v>13.49</c:v>
                </c:pt>
                <c:pt idx="4">
                  <c:v>15.49</c:v>
                </c:pt>
              </c:numCache>
            </c:numRef>
          </c:xVal>
          <c:yVal>
            <c:numRef>
              <c:f>Sheet1!$B$2:$B$6</c:f>
              <c:numCache>
                <c:formatCode>General</c:formatCode>
                <c:ptCount val="5"/>
                <c:pt idx="0">
                  <c:v>0.13856449686263403</c:v>
                </c:pt>
                <c:pt idx="1">
                  <c:v>0.06891996802335863</c:v>
                </c:pt>
                <c:pt idx="2">
                  <c:v>0.0</c:v>
                </c:pt>
                <c:pt idx="3">
                  <c:v>-0.054896018710234536</c:v>
                </c:pt>
                <c:pt idx="4">
                  <c:v>-0.1149721212586747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ILLIE BLADE REFILL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49</c:v>
                </c:pt>
                <c:pt idx="1">
                  <c:v>18.79</c:v>
                </c:pt>
                <c:pt idx="2">
                  <c:v>20.49</c:v>
                </c:pt>
                <c:pt idx="3">
                  <c:v>22.99</c:v>
                </c:pt>
                <c:pt idx="4">
                  <c:v>25.59</c:v>
                </c:pt>
              </c:numCache>
            </c:numRef>
          </c:xVal>
          <c:yVal>
            <c:numRef>
              <c:f>Sheet1!$B$9:$B$13</c:f>
              <c:numCache>
                <c:formatCode>General</c:formatCode>
                <c:ptCount val="5"/>
                <c:pt idx="0">
                  <c:v>0.15438668026383595</c:v>
                </c:pt>
                <c:pt idx="1">
                  <c:v>0.08220935671319529</c:v>
                </c:pt>
                <c:pt idx="2">
                  <c:v>0.0</c:v>
                </c:pt>
                <c:pt idx="3">
                  <c:v>-0.04912473674580088</c:v>
                </c:pt>
                <c:pt idx="4">
                  <c:v>-0.144284896660110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5.59"/>
          <c:min val="9.7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SENSITIVE DISPOSABLE RAZOR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99</c:v>
                </c:pt>
                <c:pt idx="1">
                  <c:v>13.49</c:v>
                </c:pt>
                <c:pt idx="2">
                  <c:v>14.99</c:v>
                </c:pt>
                <c:pt idx="3">
                  <c:v>16.49</c:v>
                </c:pt>
                <c:pt idx="4">
                  <c:v>18.79</c:v>
                </c:pt>
              </c:numCache>
            </c:numRef>
          </c:xVal>
          <c:yVal>
            <c:numRef>
              <c:f>Sheet1!$B$2:$B$6</c:f>
              <c:numCache>
                <c:formatCode>General</c:formatCode>
                <c:ptCount val="5"/>
                <c:pt idx="0">
                  <c:v>0.2203634211624249</c:v>
                </c:pt>
                <c:pt idx="1">
                  <c:v>0.13671263399519315</c:v>
                </c:pt>
                <c:pt idx="2">
                  <c:v>0.0</c:v>
                </c:pt>
                <c:pt idx="3">
                  <c:v>-0.0997308464037783</c:v>
                </c:pt>
                <c:pt idx="4">
                  <c:v>-0.2040953441179929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ULTIMATE PUBIC SKIN PROTECTION DISPOSABLE RAZOR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89</c:v>
                </c:pt>
                <c:pt idx="1">
                  <c:v>8.69</c:v>
                </c:pt>
                <c:pt idx="2">
                  <c:v>9.79</c:v>
                </c:pt>
                <c:pt idx="3">
                  <c:v>10.79</c:v>
                </c:pt>
                <c:pt idx="4">
                  <c:v>11.99</c:v>
                </c:pt>
              </c:numCache>
            </c:numRef>
          </c:xVal>
          <c:yVal>
            <c:numRef>
              <c:f>Sheet1!$B$9:$B$13</c:f>
              <c:numCache>
                <c:formatCode>General</c:formatCode>
                <c:ptCount val="5"/>
                <c:pt idx="0">
                  <c:v>0.1959462396028119</c:v>
                </c:pt>
                <c:pt idx="1">
                  <c:v>0.09241002244943727</c:v>
                </c:pt>
                <c:pt idx="2">
                  <c:v>0.0</c:v>
                </c:pt>
                <c:pt idx="3">
                  <c:v>-0.07697696855692358</c:v>
                </c:pt>
                <c:pt idx="4">
                  <c:v>-0.1498508858277223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79"/>
          <c:min val="7.8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TRIPLE PROTECTION DISPOSABLE RAZOR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99</c:v>
                </c:pt>
                <c:pt idx="1">
                  <c:v>7.49</c:v>
                </c:pt>
                <c:pt idx="2">
                  <c:v>8.49</c:v>
                </c:pt>
                <c:pt idx="3">
                  <c:v>9.29</c:v>
                </c:pt>
                <c:pt idx="4">
                  <c:v>10.79</c:v>
                </c:pt>
              </c:numCache>
            </c:numRef>
          </c:xVal>
          <c:yVal>
            <c:numRef>
              <c:f>Sheet1!$B$2:$B$6</c:f>
              <c:numCache>
                <c:formatCode>General</c:formatCode>
                <c:ptCount val="5"/>
                <c:pt idx="0">
                  <c:v>0.3007202458894684</c:v>
                </c:pt>
                <c:pt idx="1">
                  <c:v>0.1889635632241656</c:v>
                </c:pt>
                <c:pt idx="2">
                  <c:v>0.0</c:v>
                </c:pt>
                <c:pt idx="3">
                  <c:v>-0.11006387620471252</c:v>
                </c:pt>
                <c:pt idx="4">
                  <c:v>-0.252332271410655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TRIPLE PROTECTION DISPOSABLE RAZOR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1.99</c:v>
                </c:pt>
                <c:pt idx="1">
                  <c:v>13.49</c:v>
                </c:pt>
                <c:pt idx="2">
                  <c:v>14.99</c:v>
                </c:pt>
                <c:pt idx="3">
                  <c:v>16.49</c:v>
                </c:pt>
                <c:pt idx="4">
                  <c:v>18.79</c:v>
                </c:pt>
              </c:numCache>
            </c:numRef>
          </c:xVal>
          <c:yVal>
            <c:numRef>
              <c:f>Sheet1!$B$9:$B$13</c:f>
              <c:numCache>
                <c:formatCode>General</c:formatCode>
                <c:ptCount val="5"/>
                <c:pt idx="0">
                  <c:v>0.21493119067442168</c:v>
                </c:pt>
                <c:pt idx="1">
                  <c:v>0.13269626392651906</c:v>
                </c:pt>
                <c:pt idx="2">
                  <c:v>0.0</c:v>
                </c:pt>
                <c:pt idx="3">
                  <c:v>-0.09835740918858396</c:v>
                </c:pt>
                <c:pt idx="4">
                  <c:v>-0.2048896520501315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SILK ULTRA SENSITIVE DISPOSABLE RAZOR 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99</c:v>
                </c:pt>
                <c:pt idx="1">
                  <c:v>7.49</c:v>
                </c:pt>
                <c:pt idx="2">
                  <c:v>8.49</c:v>
                </c:pt>
                <c:pt idx="3">
                  <c:v>9.29</c:v>
                </c:pt>
                <c:pt idx="4">
                  <c:v>10.79</c:v>
                </c:pt>
              </c:numCache>
            </c:numRef>
          </c:xVal>
          <c:yVal>
            <c:numRef>
              <c:f>Sheet1!$B$16:$B$20</c:f>
              <c:numCache>
                <c:formatCode>General</c:formatCode>
                <c:ptCount val="5"/>
                <c:pt idx="0">
                  <c:v>0.24469229085652858</c:v>
                </c:pt>
                <c:pt idx="1">
                  <c:v>0.15278792850505382</c:v>
                </c:pt>
                <c:pt idx="2">
                  <c:v>0.0</c:v>
                </c:pt>
                <c:pt idx="3">
                  <c:v>-0.08796502150925713</c:v>
                </c:pt>
                <c:pt idx="4">
                  <c:v>-0.2195322141257273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SILK ULTRA SENSITIVE DISPOSABLE RAZOR 4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1.99</c:v>
                </c:pt>
                <c:pt idx="1">
                  <c:v>13.49</c:v>
                </c:pt>
                <c:pt idx="2">
                  <c:v>14.99</c:v>
                </c:pt>
                <c:pt idx="3">
                  <c:v>16.49</c:v>
                </c:pt>
                <c:pt idx="4">
                  <c:v>18.79</c:v>
                </c:pt>
              </c:numCache>
            </c:numRef>
          </c:xVal>
          <c:yVal>
            <c:numRef>
              <c:f>Sheet1!$B$23:$B$27</c:f>
              <c:numCache>
                <c:formatCode>General</c:formatCode>
                <c:ptCount val="5"/>
                <c:pt idx="0">
                  <c:v>0.22534568055720827</c:v>
                </c:pt>
                <c:pt idx="1">
                  <c:v>0.14704752477033523</c:v>
                </c:pt>
                <c:pt idx="2">
                  <c:v>0.0</c:v>
                </c:pt>
                <c:pt idx="3">
                  <c:v>-0.10423297089132276</c:v>
                </c:pt>
                <c:pt idx="4">
                  <c:v>-0.19645489905919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79"/>
          <c:min val="6.9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GO DISPOSABLE RAZOR 1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49</c:v>
                </c:pt>
                <c:pt idx="1">
                  <c:v>6.29</c:v>
                </c:pt>
                <c:pt idx="2">
                  <c:v>6.99</c:v>
                </c:pt>
                <c:pt idx="3">
                  <c:v>7.49</c:v>
                </c:pt>
                <c:pt idx="4">
                  <c:v>8.69</c:v>
                </c:pt>
              </c:numCache>
            </c:numRef>
          </c:xVal>
          <c:yVal>
            <c:numRef>
              <c:f>Sheet1!$B$2:$B$6</c:f>
              <c:numCache>
                <c:formatCode>General</c:formatCode>
                <c:ptCount val="5"/>
                <c:pt idx="0">
                  <c:v>0.25567254975311343</c:v>
                </c:pt>
                <c:pt idx="1">
                  <c:v>0.10511361757839476</c:v>
                </c:pt>
                <c:pt idx="2">
                  <c:v>0.0</c:v>
                </c:pt>
                <c:pt idx="3">
                  <c:v>-0.09783706681006273</c:v>
                </c:pt>
                <c:pt idx="4">
                  <c:v>-0.258059114009304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69"/>
          <c:min val="5.4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INTUITION SENSITIVE DISPOSABLE RAZOR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19</c:v>
                </c:pt>
                <c:pt idx="1">
                  <c:v>12.49</c:v>
                </c:pt>
                <c:pt idx="2">
                  <c:v>13.99</c:v>
                </c:pt>
                <c:pt idx="3">
                  <c:v>15.49</c:v>
                </c:pt>
                <c:pt idx="4">
                  <c:v>17.79</c:v>
                </c:pt>
              </c:numCache>
            </c:numRef>
          </c:xVal>
          <c:yVal>
            <c:numRef>
              <c:f>Sheet1!$B$2:$B$6</c:f>
              <c:numCache>
                <c:formatCode>General</c:formatCode>
                <c:ptCount val="5"/>
                <c:pt idx="0">
                  <c:v>0.12897636597224393</c:v>
                </c:pt>
                <c:pt idx="1">
                  <c:v>0.0844872604070799</c:v>
                </c:pt>
                <c:pt idx="2">
                  <c:v>0.0</c:v>
                </c:pt>
                <c:pt idx="3">
                  <c:v>-0.1589617235076444</c:v>
                </c:pt>
                <c:pt idx="4">
                  <c:v>-0.2418665809231728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7.79"/>
          <c:min val="11.1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SKINTIMATE 4 BLADE SENSITIVE DISPOSABLE RAZOR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89</c:v>
                </c:pt>
                <c:pt idx="1">
                  <c:v>9.29</c:v>
                </c:pt>
                <c:pt idx="2">
                  <c:v>10.29</c:v>
                </c:pt>
                <c:pt idx="3">
                  <c:v>11.19</c:v>
                </c:pt>
                <c:pt idx="4">
                  <c:v>12.99</c:v>
                </c:pt>
              </c:numCache>
            </c:numRef>
          </c:xVal>
          <c:yVal>
            <c:numRef>
              <c:f>Sheet1!$B$2:$B$6</c:f>
              <c:numCache>
                <c:formatCode>General</c:formatCode>
                <c:ptCount val="5"/>
                <c:pt idx="0">
                  <c:v>0.2593898327556183</c:v>
                </c:pt>
                <c:pt idx="1">
                  <c:v>0.08097524238069921</c:v>
                </c:pt>
                <c:pt idx="2">
                  <c:v>0.0</c:v>
                </c:pt>
                <c:pt idx="3">
                  <c:v>-0.12920118023872013</c:v>
                </c:pt>
                <c:pt idx="4">
                  <c:v>-0.203775367582853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SKINTIMATE 4 BLADE VANILLA SUGAR DISPOSABLE RAZOR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89</c:v>
                </c:pt>
                <c:pt idx="1">
                  <c:v>9.29</c:v>
                </c:pt>
                <c:pt idx="2">
                  <c:v>10.29</c:v>
                </c:pt>
                <c:pt idx="3">
                  <c:v>11.19</c:v>
                </c:pt>
                <c:pt idx="4">
                  <c:v>12.99</c:v>
                </c:pt>
              </c:numCache>
            </c:numRef>
          </c:xVal>
          <c:yVal>
            <c:numRef>
              <c:f>Sheet1!$B$9:$B$13</c:f>
              <c:numCache>
                <c:formatCode>General</c:formatCode>
                <c:ptCount val="5"/>
                <c:pt idx="0">
                  <c:v>0.31136402302214744</c:v>
                </c:pt>
                <c:pt idx="1">
                  <c:v>0.08743445640715052</c:v>
                </c:pt>
                <c:pt idx="2">
                  <c:v>0.0</c:v>
                </c:pt>
                <c:pt idx="3">
                  <c:v>-0.11323457574294728</c:v>
                </c:pt>
                <c:pt idx="4">
                  <c:v>-0.1984157883005486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99"/>
          <c:min val="7.8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SKINTIMATE 4 BLADE SENSITIVE DISPOSABLE RAZOR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19</c:v>
                </c:pt>
                <c:pt idx="1">
                  <c:v>12.49</c:v>
                </c:pt>
                <c:pt idx="2">
                  <c:v>13.89</c:v>
                </c:pt>
                <c:pt idx="3">
                  <c:v>15.49</c:v>
                </c:pt>
                <c:pt idx="4">
                  <c:v>18.79</c:v>
                </c:pt>
              </c:numCache>
            </c:numRef>
          </c:xVal>
          <c:yVal>
            <c:numRef>
              <c:f>Sheet1!$B$2:$B$6</c:f>
              <c:numCache>
                <c:formatCode>General</c:formatCode>
                <c:ptCount val="5"/>
                <c:pt idx="0">
                  <c:v>0.15351387542776387</c:v>
                </c:pt>
                <c:pt idx="1">
                  <c:v>0.06140052399736015</c:v>
                </c:pt>
                <c:pt idx="2">
                  <c:v>0.0</c:v>
                </c:pt>
                <c:pt idx="3">
                  <c:v>-0.21449173109184236</c:v>
                </c:pt>
                <c:pt idx="4">
                  <c:v>-0.3812558407930375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79"/>
          <c:min val="11.1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SILK MINI RAZOR + 1 BLADE</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79</c:v>
                </c:pt>
                <c:pt idx="1">
                  <c:v>11.19</c:v>
                </c:pt>
                <c:pt idx="2">
                  <c:v>12.49</c:v>
                </c:pt>
                <c:pt idx="3">
                  <c:v>13.49</c:v>
                </c:pt>
                <c:pt idx="4">
                  <c:v>15.49</c:v>
                </c:pt>
              </c:numCache>
            </c:numRef>
          </c:xVal>
          <c:yVal>
            <c:numRef>
              <c:f>Sheet1!$B$2:$B$6</c:f>
              <c:numCache>
                <c:formatCode>General</c:formatCode>
                <c:ptCount val="5"/>
                <c:pt idx="0">
                  <c:v>0.1582891881473692</c:v>
                </c:pt>
                <c:pt idx="1">
                  <c:v>0.04278148234984016</c:v>
                </c:pt>
                <c:pt idx="2">
                  <c:v>0.0</c:v>
                </c:pt>
                <c:pt idx="3">
                  <c:v>-0.0491953414289354</c:v>
                </c:pt>
                <c:pt idx="4">
                  <c:v>-0.1242118344916323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SILK SENSITIVE RAZOR + 2 BLADES + BONUS TOUCH UP</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79</c:v>
                </c:pt>
                <c:pt idx="1">
                  <c:v>12.49</c:v>
                </c:pt>
                <c:pt idx="2">
                  <c:v>13.79</c:v>
                </c:pt>
                <c:pt idx="3">
                  <c:v>14.99</c:v>
                </c:pt>
                <c:pt idx="4">
                  <c:v>16.99</c:v>
                </c:pt>
              </c:numCache>
            </c:numRef>
          </c:xVal>
          <c:yVal>
            <c:numRef>
              <c:f>Sheet1!$B$9:$B$13</c:f>
              <c:numCache>
                <c:formatCode>General</c:formatCode>
                <c:ptCount val="5"/>
                <c:pt idx="0">
                  <c:v>0.1664610391717752</c:v>
                </c:pt>
                <c:pt idx="1">
                  <c:v>0.06299472368370984</c:v>
                </c:pt>
                <c:pt idx="2">
                  <c:v>0.0</c:v>
                </c:pt>
                <c:pt idx="3">
                  <c:v>-0.08323840112307598</c:v>
                </c:pt>
                <c:pt idx="4">
                  <c:v>-0.1574034596465898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SILK SENSITIVE RAZOR +5 BLADES</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9</c:v>
                </c:pt>
                <c:pt idx="1">
                  <c:v>18.79</c:v>
                </c:pt>
                <c:pt idx="2">
                  <c:v>20.99</c:v>
                </c:pt>
                <c:pt idx="3">
                  <c:v>22.99</c:v>
                </c:pt>
                <c:pt idx="4">
                  <c:v>26.99</c:v>
                </c:pt>
              </c:numCache>
            </c:numRef>
          </c:xVal>
          <c:yVal>
            <c:numRef>
              <c:f>Sheet1!$B$16:$B$20</c:f>
              <c:numCache>
                <c:formatCode>General</c:formatCode>
                <c:ptCount val="5"/>
                <c:pt idx="0">
                  <c:v>0.2631505479003207</c:v>
                </c:pt>
                <c:pt idx="1">
                  <c:v>0.17913403195424948</c:v>
                </c:pt>
                <c:pt idx="2">
                  <c:v>0.0</c:v>
                </c:pt>
                <c:pt idx="3">
                  <c:v>-0.1408310541063634</c:v>
                </c:pt>
                <c:pt idx="4">
                  <c:v>-0.240183634650549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99"/>
          <c:min val="9.79"/>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1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1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1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1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18/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18/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ale Disp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SENSITIVE 2 BLADE DISPOSABLE RAZOR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SENSITIVE 3 BLADE DISPOSABLE RAZOR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08730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Razor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SENSITIVE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SILK TRIMSTYLE RAZOR + 1 BLAD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SILK ULTIMATE PUBIC SKIN RAZOR + 3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16189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ition Razor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ADVANCED MOISTURE RAZOR +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INTUITION FRESH GARDENIA RAZOR +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INTUITION LEMON BERRY BREEZE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INTUITION PURE NOURISHMENT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INTUITION SENSITIVE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48574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ition Razor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RADIANCE RAZOR +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78893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Quattro Razor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QUATTRO FOR WOMEN RAZOR +4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068509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ille Dispo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ILLIE DISPOSABLE 3 BLADE MALIBU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ILLIE DISPOSABLE 3 BLADE MALIBU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ILLIE DISPOSABLE 3 BLADE SUNBURST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ILLIE DISPOSABLE 5 BLADE SUNBURST 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40933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illie Razor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ILLIE MALIBU RAZOR + 5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0951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illie Razor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ILLIE DREAM POP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ILLIE MALIBU RAZOR +2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82962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Blades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ULTIMATE PUBIC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MOISTURE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SILK SENSITIVE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60991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Blades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MOISTUR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SENSITIV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14022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tion Blades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ADVANCED MOISTURE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INTUITION FRESH GARDENIA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INTUITION LEMON BERRY BREEZ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INTUITION PURE NOURISHMENT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INTUITION SENSITIV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8.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64940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xtra 2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EXTRA 2 ESSENTIALS DISPOSABLE RAZOR 10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3753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tion Blades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ADVANCED MOISTUR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INTUITION RADIANCE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INTUITION RADIANCE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INTUITION SENSITIVE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724857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Quattro Blades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QUATTRO FOR WOMEN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QUATTRO FOR WOMEN BLADE REFILL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87593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illie Blades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ILLIE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7.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ILLIE BLADE REFILL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71145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Disp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SENSITIVE DISPOSABLE RAZOR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ULTIMATE PUBIC SKIN PROTECTION DISPOSABLE RAZOR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6432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Dispo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TRIPLE PROTECTION DISPOSABLE RAZOR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TRIPLE PROTECTION DISPOSABLE RAZOR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SILK ULTRA SENSITIVE DISPOSABLE RAZOR 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SILK ULTRA SENSITIVE DISPOSABLE RAZOR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1459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ition Dispo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GO DISPOSABLE RAZOR 1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17593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Intuition Disp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INTUITION SENSITIVE DISPOSABLE RAZOR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43337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kintimate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SKINTIMATE 4 BLADE SENSITIVE DISPOSABLE RAZOR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SKINTIMATE 4 BLADE VANILLA SUGAR DISPOSABLE RAZOR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5021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kintimate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SKINTIMATE 4 BLADE SENSITIVE DISPOSABLE RAZOR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26968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anuar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Razor Inno | Price Elasticity | CVS Corp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SILK MINI RAZOR + 1 BLAD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SILK SENSITIVE RAZOR + 2 BLADES + BONUS TOUCH UP</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SILK SENSITIVE RAZOR +5 BLAD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18/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86198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72</Words>
  <Application>Microsoft Office PowerPoint</Application>
  <PresentationFormat>On-screen Show (16:9)</PresentationFormat>
  <Paragraphs>924</Paragraphs>
  <Slides>2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09:12Z</dcterms:created>
  <dcterms:modified xsi:type="dcterms:W3CDTF">2025-07-18T12: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